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dp" ContentType="image/vnd.ms-photo"/>
  <Default Extension="rels" ContentType="application/vnd.openxmlformats-package.relationship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handoutMasterIdLst>
    <p:handoutMasterId r:id="rId9"/>
  </p:handoutMasterIdLst>
  <p:sldIdLst>
    <p:sldId id="256" r:id="rId3"/>
    <p:sldId id="16762759" r:id="rId4"/>
    <p:sldId id="16762758" r:id="rId5"/>
    <p:sldId id="16762761" r:id="rId6"/>
    <p:sldId id="269" r:id="rId8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ika  Mahla" initials="AM [7]" lastIdx="1" clrIdx="6"/>
  <p:cmAuthor id="10" name="Sylvia Orgus | i-pointing" initials="SO|i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0" autoAdjust="0"/>
    <p:restoredTop sz="90148" autoAdjust="0"/>
  </p:normalViewPr>
  <p:slideViewPr>
    <p:cSldViewPr snapToGrid="0">
      <p:cViewPr varScale="1">
        <p:scale>
          <a:sx n="58" d="100"/>
          <a:sy n="58" d="100"/>
        </p:scale>
        <p:origin x="91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6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66.xml"/><Relationship Id="rId16" Type="http://schemas.openxmlformats.org/officeDocument/2006/relationships/customXml" Target="../customXml/item3.xml"/><Relationship Id="rId15" Type="http://schemas.openxmlformats.org/officeDocument/2006/relationships/customXml" Target="../customXml/item2.xml"/><Relationship Id="rId14" Type="http://schemas.openxmlformats.org/officeDocument/2006/relationships/customXml" Target="../customXml/item1.xml"/><Relationship Id="rId13" Type="http://schemas.openxmlformats.org/officeDocument/2006/relationships/commentAuthors" Target="commentAuthors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651474-28CD-430D-B610-F7DF1B156A36}" type="datetimeFigureOut">
              <a:rPr lang="en-GB" smtClean="0"/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94E74-2CB2-4465-8CC6-5112F46488E2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5AE17-8E6C-4009-ACF3-797CFACD3AF1}" type="datetimeFigureOut">
              <a:rPr lang="en-GB" smtClean="0"/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45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0.vml"/><Relationship Id="rId5" Type="http://schemas.openxmlformats.org/officeDocument/2006/relationships/tags" Target="../tags/tag1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7" Type="http://schemas.openxmlformats.org/officeDocument/2006/relationships/image" Target="../media/image2.jpeg"/><Relationship Id="rId6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tags" Target="../tags/tag1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7" Type="http://schemas.openxmlformats.org/officeDocument/2006/relationships/image" Target="../media/image2.jpeg"/><Relationship Id="rId6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4.vml"/><Relationship Id="rId5" Type="http://schemas.openxmlformats.org/officeDocument/2006/relationships/tags" Target="../tags/tag2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7" Type="http://schemas.openxmlformats.org/officeDocument/2006/relationships/image" Target="../media/image2.jpeg"/><Relationship Id="rId6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6.vml"/><Relationship Id="rId5" Type="http://schemas.openxmlformats.org/officeDocument/2006/relationships/tags" Target="../tags/tag2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7" Type="http://schemas.openxmlformats.org/officeDocument/2006/relationships/image" Target="../media/image2.jpeg"/><Relationship Id="rId6" Type="http://schemas.openxmlformats.org/officeDocument/2006/relationships/tags" Target="../tags/tag27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tags" Target="../tags/tag2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tags" Target="../tags/tag3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3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image" Target="../media/image2.jpeg"/><Relationship Id="rId5" Type="http://schemas.openxmlformats.org/officeDocument/2006/relationships/tags" Target="../tags/tag3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2.vml"/><Relationship Id="rId6" Type="http://schemas.openxmlformats.org/officeDocument/2006/relationships/image" Target="../media/image2.jpeg"/><Relationship Id="rId5" Type="http://schemas.openxmlformats.org/officeDocument/2006/relationships/tags" Target="../tags/tag3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2.bin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3.vml"/><Relationship Id="rId6" Type="http://schemas.openxmlformats.org/officeDocument/2006/relationships/image" Target="../media/image2.jpeg"/><Relationship Id="rId5" Type="http://schemas.openxmlformats.org/officeDocument/2006/relationships/tags" Target="../tags/tag3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3.bin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4.vml"/><Relationship Id="rId7" Type="http://schemas.openxmlformats.org/officeDocument/2006/relationships/image" Target="../media/image12.emf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7" Type="http://schemas.openxmlformats.org/officeDocument/2006/relationships/image" Target="../media/image13.emf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6.vml"/><Relationship Id="rId6" Type="http://schemas.openxmlformats.org/officeDocument/2006/relationships/image" Target="../media/image2.jpeg"/><Relationship Id="rId5" Type="http://schemas.openxmlformats.org/officeDocument/2006/relationships/tags" Target="../tags/tag47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4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2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3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4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5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6.vml"/><Relationship Id="rId6" Type="http://schemas.openxmlformats.org/officeDocument/2006/relationships/image" Target="../media/image2.jpeg"/><Relationship Id="rId5" Type="http://schemas.openxmlformats.org/officeDocument/2006/relationships/tags" Target="../tags/tag5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36.bin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7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2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tags" Target="../tags/tag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tags" Target="../tags/tag1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02007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3600"/>
              </a:lnSpc>
              <a:defRPr sz="4000" b="1" kern="1200" spc="-200" baseline="0">
                <a:solidFill>
                  <a:srgbClr val="FCFA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ER BOLD ARIAL</a:t>
            </a:r>
            <a:br>
              <a:rPr lang="sk-SK" dirty="0"/>
            </a:br>
            <a:r>
              <a:rPr lang="sk-SK" dirty="0"/>
              <a:t>SUBHEADER ARIAL REG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425" y="6007122"/>
            <a:ext cx="10515600" cy="715963"/>
          </a:xfrm>
        </p:spPr>
        <p:txBody>
          <a:bodyPr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pic>
        <p:nvPicPr>
          <p:cNvPr id="3" name="Picture 2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1" name="Picture 10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5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40388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1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350121"/>
            <a:ext cx="4065233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282650"/>
            <a:ext cx="5400673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white blurry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l="14895" t="26422" r="1273" b="2642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icture 7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63595" r="35560"/>
          <a:stretch>
            <a:fillRect/>
          </a:stretch>
        </p:blipFill>
        <p:spPr>
          <a:xfrm>
            <a:off x="1536700" y="0"/>
            <a:ext cx="10655300" cy="60198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32574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69033"/>
            <a:ext cx="10515600" cy="396070"/>
          </a:xfrm>
        </p:spPr>
        <p:txBody>
          <a:bodyPr anchor="b" anchorCtr="0"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SPEAKER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4217" y="354250"/>
            <a:ext cx="6966743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291359"/>
            <a:ext cx="8482806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265169"/>
            <a:ext cx="8727732" cy="677491"/>
          </a:xfrm>
        </p:spPr>
        <p:txBody>
          <a:bodyPr vert="horz"/>
          <a:lstStyle>
            <a:lvl1pPr>
              <a:lnSpc>
                <a:spcPts val="2400"/>
              </a:lnSpc>
              <a:defRPr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057456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5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Bild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2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5" name="Bild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282402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0345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287741"/>
            <a:ext cx="11125289" cy="4486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03073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ulti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400" b="1" i="0" spc="-200" baseline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61101" y="1665288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1665288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 dirty="0"/>
              <a:t>Copy text headline bold Arial</a:t>
            </a:r>
            <a:endParaRPr lang="sk-SK" dirty="0"/>
          </a:p>
          <a:p>
            <a:pPr lvl="0"/>
            <a:r>
              <a:rPr lang="sk-SK" dirty="0"/>
              <a:t>Copy text Arial Reg Copy text Copy text Copy text Copy text Copy text Copy text Copy text  Copy text 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01" y="5028142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5028142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261101" y="3342746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0" y="3342746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rry blue green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l="778" t="26738" r="42028" b="30096"/>
          <a:stretch>
            <a:fillRect/>
          </a:stretch>
        </p:blipFill>
        <p:spPr>
          <a:xfrm>
            <a:off x="3105150" y="0"/>
            <a:ext cx="9086850" cy="6858000"/>
          </a:xfrm>
          <a:prstGeom prst="rect">
            <a:avLst/>
          </a:prstGeom>
          <a:noFill/>
        </p:spPr>
      </p:pic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9" name="Picture 8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4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5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6375"/>
            <a:ext cx="3498988" cy="3635374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65288"/>
            <a:ext cx="3983236" cy="4716461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>
          <a:xfrm>
            <a:off x="4342364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9547677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24"/>
          </p:nvPr>
        </p:nvSpPr>
        <p:spPr>
          <a:xfrm>
            <a:off x="6945020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5"/>
          </p:nvPr>
        </p:nvSpPr>
        <p:spPr>
          <a:xfrm>
            <a:off x="4342364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quarter" idx="26"/>
          </p:nvPr>
        </p:nvSpPr>
        <p:spPr>
          <a:xfrm>
            <a:off x="9547677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7"/>
          </p:nvPr>
        </p:nvSpPr>
        <p:spPr>
          <a:xfrm>
            <a:off x="6945020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10"/>
          </p:nvPr>
        </p:nvSpPr>
        <p:spPr>
          <a:xfrm>
            <a:off x="1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3050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31"/>
          <p:cNvSpPr>
            <a:spLocks noGrp="1"/>
          </p:cNvSpPr>
          <p:nvPr>
            <p:ph type="pic" sz="quarter" idx="26"/>
          </p:nvPr>
        </p:nvSpPr>
        <p:spPr>
          <a:xfrm>
            <a:off x="60960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31"/>
          <p:cNvSpPr>
            <a:spLocks noGrp="1"/>
          </p:cNvSpPr>
          <p:nvPr>
            <p:ph type="pic" sz="quarter" idx="27"/>
          </p:nvPr>
        </p:nvSpPr>
        <p:spPr>
          <a:xfrm>
            <a:off x="9146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9" name="Picture Placeholder 31"/>
          <p:cNvSpPr>
            <a:spLocks noGrp="1"/>
          </p:cNvSpPr>
          <p:nvPr>
            <p:ph type="pic" sz="quarter" idx="29"/>
          </p:nvPr>
        </p:nvSpPr>
        <p:spPr>
          <a:xfrm>
            <a:off x="3050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31"/>
          <p:cNvSpPr>
            <a:spLocks noGrp="1"/>
          </p:cNvSpPr>
          <p:nvPr>
            <p:ph type="pic" sz="quarter" idx="30"/>
          </p:nvPr>
        </p:nvSpPr>
        <p:spPr>
          <a:xfrm>
            <a:off x="60960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1"/>
          <p:cNvSpPr>
            <a:spLocks noGrp="1"/>
          </p:cNvSpPr>
          <p:nvPr>
            <p:ph type="pic" sz="quarter" idx="31"/>
          </p:nvPr>
        </p:nvSpPr>
        <p:spPr>
          <a:xfrm>
            <a:off x="9146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800" y="3848100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044825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6100799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9156775" y="3848100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800" y="5970587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3044825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6100799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3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9156775" y="5970587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2808973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573100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3138534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279609"/>
            <a:ext cx="9540876" cy="106182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479425" y="1665288"/>
            <a:ext cx="2329549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09367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2659110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79424" y="1665288"/>
            <a:ext cx="2916239" cy="471646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326571"/>
            <a:ext cx="9540876" cy="101486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/>
              <a:t>HEADLINE BOLD ARIAL</a:t>
            </a:r>
            <a:br>
              <a:rPr lang="en-US"/>
            </a:br>
            <a:r>
              <a:rPr lang="en-US"/>
              <a:t>SUBHEAD REG ARIAL</a:t>
            </a:r>
            <a:br>
              <a:rPr lang="en-US"/>
            </a:br>
            <a:r>
              <a:rPr lang="en-US"/>
              <a:t>SUBHEAD REG ARIAL</a:t>
            </a:r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vert="horz" anchor="t"/>
          <a:lstStyle>
            <a:lvl1pPr algn="l">
              <a:lnSpc>
                <a:spcPts val="6600"/>
              </a:lnSpc>
              <a:defRPr sz="66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rry orange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6738" r="42027" b="30096"/>
          <a:stretch>
            <a:fillRect/>
          </a:stretch>
        </p:blipFill>
        <p:spPr>
          <a:xfrm>
            <a:off x="2981419" y="0"/>
            <a:ext cx="9210581" cy="68580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4940" r="52338" b="31895"/>
          <a:stretch>
            <a:fillRect/>
          </a:stretch>
        </p:blipFill>
        <p:spPr>
          <a:xfrm>
            <a:off x="4619625" y="0"/>
            <a:ext cx="7572375" cy="6858000"/>
          </a:xfrm>
          <a:prstGeom prst="rect">
            <a:avLst/>
          </a:prstGeom>
          <a:noFill/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bIns="0" anchor="b"/>
          <a:lstStyle>
            <a:lvl1pPr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right light on an orange background&#10;&#10;Description automatically generated"/>
          <p:cNvPicPr>
            <a:picLocks noChangeAspect="1"/>
          </p:cNvPicPr>
          <p:nvPr userDrawn="1"/>
        </p:nvPicPr>
        <p:blipFill rotWithShape="1">
          <a:blip r:embed="rId5"/>
          <a:srcRect l="40581" t="4739" r="37542" b="56369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solidFill>
            <a:srgbClr val="FF6600">
              <a:alpha val="7000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2" name="Picture 1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0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hee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461676"/>
            <a:ext cx="11126315" cy="641201"/>
          </a:xfrm>
        </p:spPr>
        <p:txBody>
          <a:bodyPr vert="horz" wrap="square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31200"/>
            <a:ext cx="7561262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283875"/>
            <a:ext cx="1112631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308713"/>
            <a:ext cx="9144000" cy="67749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4" Type="http://schemas.openxmlformats.org/officeDocument/2006/relationships/theme" Target="../theme/theme1.xml"/><Relationship Id="rId43" Type="http://schemas.openxmlformats.org/officeDocument/2006/relationships/vmlDrawing" Target="../drawings/vmlDrawing37.vml"/><Relationship Id="rId42" Type="http://schemas.openxmlformats.org/officeDocument/2006/relationships/image" Target="../media/image2.jpeg"/><Relationship Id="rId41" Type="http://schemas.openxmlformats.org/officeDocument/2006/relationships/tags" Target="../tags/tag61.xml"/><Relationship Id="rId40" Type="http://schemas.openxmlformats.org/officeDocument/2006/relationships/image" Target="../media/image11.emf"/><Relationship Id="rId4" Type="http://schemas.openxmlformats.org/officeDocument/2006/relationships/slideLayout" Target="../slideLayouts/slideLayout4.xml"/><Relationship Id="rId39" Type="http://schemas.openxmlformats.org/officeDocument/2006/relationships/oleObject" Target="../embeddings/oleObject37.bin"/><Relationship Id="rId38" Type="http://schemas.openxmlformats.org/officeDocument/2006/relationships/tags" Target="../tags/tag60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9" imgW="10160" imgH="10160" progId="TCLayout.ActiveDocument.1">
                  <p:embed/>
                </p:oleObj>
              </mc:Choice>
              <mc:Fallback>
                <p:oleObj name="think-cell Slide" r:id="rId39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328189"/>
            <a:ext cx="9144000" cy="6798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8" y="1287741"/>
            <a:ext cx="11126316" cy="44860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pic>
        <p:nvPicPr>
          <p:cNvPr id="6" name="Picture 5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42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2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6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3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38.bin"/><Relationship Id="rId1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9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hyperlink" Target="https://youtu.be/I4Zr0hBu4b8?si=5jHInDX86blw8bB0" TargetMode="External"/><Relationship Id="rId2" Type="http://schemas.microsoft.com/office/2007/relationships/hdphoto" Target="../media/image15.wdp"/><Relationship Id="rId1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9.xml"/><Relationship Id="rId4" Type="http://schemas.openxmlformats.org/officeDocument/2006/relationships/image" Target="../media/image22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9.xml"/><Relationship Id="rId4" Type="http://schemas.openxmlformats.org/officeDocument/2006/relationships/image" Target="../media/image26.png"/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hyperlink" Target="mailto:msk.info@ledvance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11430" imgH="11430" progId="TCLayout.ActiveDocument.1">
                  <p:embed/>
                </p:oleObj>
              </mc:Choice>
              <mc:Fallback>
                <p:oleObj name="think-cell Slide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 CLASS SLIM DAMP PROOF </a:t>
            </a:r>
            <a:endParaRPr lang="de-DE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Версии со сквозной проводкой и с повышенной светоотдачей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-94195" y="4287644"/>
            <a:ext cx="9115532" cy="819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en-US" sz="2400" b="1" dirty="0"/>
              <a:t>      </a:t>
            </a:r>
            <a:r>
              <a:rPr lang="ru-RU" sz="2400" b="1" dirty="0"/>
              <a:t>ОБНОВЛЕНИЕ АССОРТИМЕНТА</a:t>
            </a:r>
            <a:endParaRPr lang="ru-RU" sz="2400" b="1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75388" y="350121"/>
            <a:ext cx="4251363" cy="677491"/>
          </a:xfrm>
        </p:spPr>
        <p:txBody>
          <a:bodyPr/>
          <a:lstStyle/>
          <a:p>
            <a:r>
              <a:rPr lang="ru-RU" dirty="0"/>
              <a:t>Преимущества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294942" y="1175544"/>
            <a:ext cx="5400673" cy="450691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Компактный корпус</a:t>
            </a:r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ылевлагозащищенный: </a:t>
            </a:r>
            <a:r>
              <a:rPr lang="en-US" sz="2000" b="1" dirty="0"/>
              <a:t>IP65</a:t>
            </a: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1" dirty="0"/>
              <a:t>Монолитный неразборный </a:t>
            </a:r>
            <a:r>
              <a:rPr lang="ru-RU" sz="2000" dirty="0"/>
              <a:t>– не боится вибраций и ударов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очный корпус из поликорбоната (</a:t>
            </a:r>
            <a:r>
              <a:rPr lang="en-US" sz="2000" dirty="0"/>
              <a:t>IK07)</a:t>
            </a:r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Равномерная засветка</a:t>
            </a:r>
            <a:endParaRPr lang="ru-RU" sz="2000" dirty="0"/>
          </a:p>
          <a:p>
            <a:r>
              <a:rPr lang="ru-RU" sz="2000" b="1" dirty="0"/>
              <a:t>Светоотдача повышена до </a:t>
            </a:r>
            <a:r>
              <a:rPr lang="en-US" sz="2000" b="1" dirty="0"/>
              <a:t>120 </a:t>
            </a:r>
            <a:r>
              <a:rPr lang="ru-RU" sz="2000" b="1" dirty="0"/>
              <a:t>лм/Вт</a:t>
            </a:r>
            <a:r>
              <a:rPr lang="en-US" sz="2000" b="1" dirty="0"/>
              <a:t>!</a:t>
            </a:r>
            <a:endParaRPr lang="ru-RU" sz="2000" b="1" dirty="0"/>
          </a:p>
          <a:p>
            <a:r>
              <a:rPr lang="ru-RU" sz="2000" b="1" dirty="0"/>
              <a:t>300 мм кабель для удобного подключения без сквозной проводки</a:t>
            </a:r>
            <a:endParaRPr lang="ru-RU" sz="2000" b="1" dirty="0"/>
          </a:p>
          <a:p>
            <a:pPr marL="285750" indent="-285750"/>
            <a:r>
              <a:rPr lang="ru-RU" sz="2000" dirty="0"/>
              <a:t>Без изменения цены</a:t>
            </a:r>
            <a:endParaRPr lang="ru-RU" sz="2000" dirty="0"/>
          </a:p>
          <a:p>
            <a:r>
              <a:rPr lang="ru-RU" sz="2000" dirty="0"/>
              <a:t>Без изменения </a:t>
            </a:r>
            <a:r>
              <a:rPr lang="en-US" sz="2000" dirty="0"/>
              <a:t>EAN</a:t>
            </a:r>
            <a:endParaRPr lang="ru-RU" sz="2000" dirty="0"/>
          </a:p>
          <a:p>
            <a:endParaRPr lang="ru-RU" dirty="0"/>
          </a:p>
        </p:txBody>
      </p:sp>
      <p:pic>
        <p:nvPicPr>
          <p:cNvPr id="6" name="Picture 5" descr="A close-up of a tube&#10;&#10;Description automatically generated"/>
          <p:cNvPicPr>
            <a:picLocks noChangeAspect="1"/>
          </p:cNvPicPr>
          <p:nvPr/>
        </p:nvPicPr>
        <p:blipFill rotWithShape="1">
          <a:blip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45172" b="55258" l="9375" r="89974">
                        <a14:foregroundMark x1="9375" y1="52790" x2="72005" y2="49785"/>
                        <a14:foregroundMark x1="72005" y1="49785" x2="81250" y2="498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3988" b="43375"/>
          <a:stretch>
            <a:fillRect/>
          </a:stretch>
        </p:blipFill>
        <p:spPr>
          <a:xfrm rot="19497916">
            <a:off x="-658117" y="2971823"/>
            <a:ext cx="7359071" cy="1128563"/>
          </a:xfrm>
          <a:prstGeom prst="rect">
            <a:avLst/>
          </a:prstGeom>
        </p:spPr>
      </p:pic>
      <p:pic>
        <p:nvPicPr>
          <p:cNvPr id="8" name="Picture 7">
            <a:hlinkClick r:id="rId3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4524" y="4737588"/>
            <a:ext cx="4487493" cy="2120412"/>
          </a:xfrm>
          <a:prstGeom prst="rect">
            <a:avLst/>
          </a:prstGeom>
        </p:spPr>
      </p:pic>
      <p:pic>
        <p:nvPicPr>
          <p:cNvPr id="10" name="Graphic 9" descr="Cursor with solid fill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1215" y="5940105"/>
            <a:ext cx="914400" cy="9144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 CLASS SLIM DAMP PROOF</a:t>
            </a:r>
            <a:br>
              <a:rPr lang="en-US" dirty="0"/>
            </a:br>
            <a:r>
              <a:rPr lang="ru-RU" dirty="0"/>
              <a:t>Артикулы для заказа</a:t>
            </a:r>
            <a:endParaRPr lang="ru-RU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"/>
          <a:srcRect l="65573" t="14696" r="19480"/>
          <a:stretch>
            <a:fillRect/>
          </a:stretch>
        </p:blipFill>
        <p:spPr>
          <a:xfrm>
            <a:off x="8344281" y="1873001"/>
            <a:ext cx="1496583" cy="1438508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9781947" y="767815"/>
            <a:ext cx="1170533" cy="1151063"/>
            <a:chOff x="9149748" y="2668363"/>
            <a:chExt cx="1170533" cy="1151063"/>
          </a:xfrm>
        </p:grpSpPr>
        <p:sp>
          <p:nvSpPr>
            <p:cNvPr id="9" name="Oval 8"/>
            <p:cNvSpPr/>
            <p:nvPr/>
          </p:nvSpPr>
          <p:spPr>
            <a:xfrm>
              <a:off x="9155151" y="2694438"/>
              <a:ext cx="1159727" cy="1124988"/>
            </a:xfrm>
            <a:prstGeom prst="ellipse">
              <a:avLst/>
            </a:prstGeom>
            <a:solidFill>
              <a:srgbClr val="91BED4"/>
            </a:solidFill>
            <a:ln>
              <a:solidFill>
                <a:srgbClr val="91BED4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6500</a:t>
              </a:r>
              <a:r>
                <a:rPr lang="ru-RU" sz="1600" b="1" dirty="0">
                  <a:solidFill>
                    <a:schemeClr val="bg1"/>
                  </a:solidFill>
                </a:rPr>
                <a:t> К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/>
            <a:srcRect b="50000"/>
            <a:stretch>
              <a:fillRect/>
            </a:stretch>
          </p:blipFill>
          <p:spPr>
            <a:xfrm>
              <a:off x="9149748" y="2668363"/>
              <a:ext cx="1170533" cy="573074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9314055" y="2850807"/>
              <a:ext cx="89860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4000 </a:t>
              </a:r>
              <a:r>
                <a:rPr lang="ru-RU" sz="1600" b="1" dirty="0"/>
                <a:t>К</a:t>
              </a:r>
              <a:endParaRPr lang="en-US" sz="1600" b="1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9781947" y="2010614"/>
            <a:ext cx="2240654" cy="1124988"/>
            <a:chOff x="10483305" y="1304049"/>
            <a:chExt cx="2240654" cy="1124988"/>
          </a:xfrm>
        </p:grpSpPr>
        <p:sp>
          <p:nvSpPr>
            <p:cNvPr id="18" name="Oval 17"/>
            <p:cNvSpPr/>
            <p:nvPr/>
          </p:nvSpPr>
          <p:spPr>
            <a:xfrm>
              <a:off x="10483305" y="1304049"/>
              <a:ext cx="1159727" cy="112498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0594520" y="1411967"/>
              <a:ext cx="55052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4000" b="1" dirty="0">
                  <a:solidFill>
                    <a:schemeClr val="bg1"/>
                  </a:solidFill>
                </a:rPr>
                <a:t>2</a:t>
              </a:r>
              <a:endParaRPr lang="ru-RU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898962" y="1694739"/>
              <a:ext cx="18249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</a:rPr>
                <a:t>года</a:t>
              </a: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577404" y="1880743"/>
              <a:ext cx="18249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</a:rPr>
                <a:t>гарантии</a:t>
              </a:r>
              <a:endParaRPr lang="ru-RU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7243471" y="2042412"/>
            <a:ext cx="2059197" cy="1124988"/>
            <a:chOff x="9149748" y="1307053"/>
            <a:chExt cx="2059197" cy="1124988"/>
          </a:xfrm>
        </p:grpSpPr>
        <p:sp>
          <p:nvSpPr>
            <p:cNvPr id="17" name="Oval 16"/>
            <p:cNvSpPr/>
            <p:nvPr/>
          </p:nvSpPr>
          <p:spPr>
            <a:xfrm>
              <a:off x="9149748" y="1307053"/>
              <a:ext cx="1159727" cy="112498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211940" y="1469366"/>
              <a:ext cx="108224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4000" b="1" dirty="0">
                  <a:solidFill>
                    <a:schemeClr val="bg1"/>
                  </a:solidFill>
                </a:rPr>
                <a:t>120</a:t>
              </a:r>
              <a:endParaRPr lang="ru-RU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383948" y="1972582"/>
              <a:ext cx="18249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</a:rPr>
                <a:t>лм/Вт</a:t>
              </a:r>
              <a:endParaRPr lang="ru-RU" sz="1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rcRect t="26083"/>
          <a:stretch>
            <a:fillRect/>
          </a:stretch>
        </p:blipFill>
        <p:spPr>
          <a:xfrm>
            <a:off x="383759" y="2124090"/>
            <a:ext cx="6068549" cy="64779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289" y="2806965"/>
            <a:ext cx="6850183" cy="514391"/>
          </a:xfrm>
          <a:prstGeom prst="rect">
            <a:avLst/>
          </a:prstGeom>
        </p:spPr>
      </p:pic>
      <p:graphicFrame>
        <p:nvGraphicFramePr>
          <p:cNvPr id="2" name="Table 5"/>
          <p:cNvGraphicFramePr>
            <a:graphicFrameLocks noGrp="1"/>
          </p:cNvGraphicFramePr>
          <p:nvPr/>
        </p:nvGraphicFramePr>
        <p:xfrm>
          <a:off x="433100" y="3447040"/>
          <a:ext cx="11556522" cy="3279196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762526"/>
                <a:gridCol w="3536683"/>
                <a:gridCol w="981308"/>
                <a:gridCol w="992458"/>
                <a:gridCol w="1092820"/>
                <a:gridCol w="981307"/>
                <a:gridCol w="1104710"/>
                <a:gridCol w="1104710"/>
              </a:tblGrid>
              <a:tr h="6246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EAN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Наименование продукт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Мощность [В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Длина 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[</a:t>
                      </a:r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мм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Световой поток [Лм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КЦТ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[К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Класс электробезопасности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Сквозная проводк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62256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CO CLASS SLIM DP 18W 840 230V IP6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0</a:t>
                      </a:r>
                      <a:endParaRPr lang="ru-RU" sz="1400" b="0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62258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COCLASS SLIM DP 18W 865 230V IP65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т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16912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 CLASS SLIM DP 36W 840 230V IP65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2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т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16910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 36W 865 230V IP65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2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т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16914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 57W 840 230V IP65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84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т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807516916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COCLASS SLIM DP 57W 865 230V IP65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84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т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400629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40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400643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399565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40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2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399589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2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399602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7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40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84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35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9854399626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COCLASS SLIM DP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7W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P65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TH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84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Oval 9"/>
          <p:cNvSpPr/>
          <p:nvPr/>
        </p:nvSpPr>
        <p:spPr>
          <a:xfrm>
            <a:off x="7243471" y="812952"/>
            <a:ext cx="1159727" cy="112498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С</a:t>
            </a:r>
            <a:r>
              <a:rPr lang="en-US" sz="2400" b="1" dirty="0">
                <a:solidFill>
                  <a:schemeClr val="bg1"/>
                </a:solidFill>
              </a:rPr>
              <a:t>RI80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8500210" y="824255"/>
            <a:ext cx="1159727" cy="112498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600</a:t>
            </a:r>
            <a:r>
              <a:rPr lang="ru-RU" sz="900" b="1" dirty="0">
                <a:solidFill>
                  <a:schemeClr val="bg1"/>
                </a:solidFill>
              </a:rPr>
              <a:t>мм</a:t>
            </a:r>
            <a:endParaRPr lang="ru-RU" sz="1000" b="1" dirty="0">
              <a:solidFill>
                <a:schemeClr val="bg1"/>
              </a:solidFill>
            </a:endParaRP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1200</a:t>
            </a:r>
            <a:r>
              <a:rPr lang="ru-RU" sz="900" b="1" dirty="0">
                <a:solidFill>
                  <a:schemeClr val="bg1"/>
                </a:solidFill>
              </a:rPr>
              <a:t>мм</a:t>
            </a:r>
            <a:endParaRPr lang="ru-RU" sz="900" b="1" dirty="0">
              <a:solidFill>
                <a:schemeClr val="bg1"/>
              </a:solidFill>
            </a:endParaRP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1500</a:t>
            </a:r>
            <a:r>
              <a:rPr lang="ru-RU" sz="900" b="1" dirty="0">
                <a:solidFill>
                  <a:schemeClr val="bg1"/>
                </a:solidFill>
              </a:rPr>
              <a:t>мм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29107" y="1137935"/>
            <a:ext cx="29566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1"/>
                </a:solidFill>
              </a:rPr>
              <a:t>Одиночное подключение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781387" y="1752308"/>
            <a:ext cx="22174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1"/>
                </a:solidFill>
              </a:rPr>
              <a:t>Сквозная проводка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9482" y="1215015"/>
            <a:ext cx="1399142" cy="1652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24" name="Прямоугольник 23"/>
          <p:cNvSpPr/>
          <p:nvPr/>
        </p:nvSpPr>
        <p:spPr>
          <a:xfrm>
            <a:off x="515937" y="1215015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28" name="Прямоугольник 27"/>
          <p:cNvSpPr/>
          <p:nvPr/>
        </p:nvSpPr>
        <p:spPr>
          <a:xfrm>
            <a:off x="1915079" y="1215015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0" name="Полилиния: фигура 29"/>
          <p:cNvSpPr/>
          <p:nvPr/>
        </p:nvSpPr>
        <p:spPr>
          <a:xfrm>
            <a:off x="1998624" y="1291291"/>
            <a:ext cx="425450" cy="174232"/>
          </a:xfrm>
          <a:custGeom>
            <a:avLst/>
            <a:gdLst>
              <a:gd name="connsiteX0" fmla="*/ 0 w 425450"/>
              <a:gd name="connsiteY0" fmla="*/ 14664 h 174232"/>
              <a:gd name="connsiteX1" fmla="*/ 254000 w 425450"/>
              <a:gd name="connsiteY1" fmla="*/ 14664 h 174232"/>
              <a:gd name="connsiteX2" fmla="*/ 336550 w 425450"/>
              <a:gd name="connsiteY2" fmla="*/ 167064 h 174232"/>
              <a:gd name="connsiteX3" fmla="*/ 425450 w 425450"/>
              <a:gd name="connsiteY3" fmla="*/ 135314 h 174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450" h="174232">
                <a:moveTo>
                  <a:pt x="0" y="14664"/>
                </a:moveTo>
                <a:cubicBezTo>
                  <a:pt x="98954" y="1964"/>
                  <a:pt x="197908" y="-10736"/>
                  <a:pt x="254000" y="14664"/>
                </a:cubicBezTo>
                <a:cubicBezTo>
                  <a:pt x="310092" y="40064"/>
                  <a:pt x="307975" y="146956"/>
                  <a:pt x="336550" y="167064"/>
                </a:cubicBezTo>
                <a:cubicBezTo>
                  <a:pt x="365125" y="187172"/>
                  <a:pt x="395287" y="161243"/>
                  <a:pt x="425450" y="135314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831738" y="1845361"/>
            <a:ext cx="1399142" cy="1652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2" name="Прямоугольник 31"/>
          <p:cNvSpPr/>
          <p:nvPr/>
        </p:nvSpPr>
        <p:spPr>
          <a:xfrm>
            <a:off x="748193" y="1845361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3" name="Прямоугольник 32"/>
          <p:cNvSpPr/>
          <p:nvPr/>
        </p:nvSpPr>
        <p:spPr>
          <a:xfrm>
            <a:off x="2147335" y="1845361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cxnSp>
        <p:nvCxnSpPr>
          <p:cNvPr id="34" name="Прямая соединительная линия 33"/>
          <p:cNvCxnSpPr>
            <a:stCxn id="33" idx="3"/>
          </p:cNvCxnSpPr>
          <p:nvPr/>
        </p:nvCxnSpPr>
        <p:spPr bwMode="gray">
          <a:xfrm flipV="1">
            <a:off x="2230879" y="1927987"/>
            <a:ext cx="216000" cy="1"/>
          </a:xfrm>
          <a:prstGeom prst="lin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 bwMode="gray">
          <a:xfrm flipV="1">
            <a:off x="532193" y="1927986"/>
            <a:ext cx="216000" cy="1"/>
          </a:xfrm>
          <a:prstGeom prst="lin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515938" y="2698595"/>
            <a:ext cx="4761734" cy="3923698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7" name="TextBox 6"/>
          <p:cNvSpPr txBox="1"/>
          <p:nvPr/>
        </p:nvSpPr>
        <p:spPr>
          <a:xfrm>
            <a:off x="359282" y="1702861"/>
            <a:ext cx="53220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ветильник одиночного подключения:</a:t>
            </a:r>
            <a:endParaRPr 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39520" y="1702861"/>
            <a:ext cx="49203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ветильник со сквозной проводкой: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542591" y="2605569"/>
            <a:ext cx="4562954" cy="411431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868" y="2764324"/>
            <a:ext cx="4507138" cy="3792239"/>
          </a:xfrm>
          <a:prstGeom prst="rect">
            <a:avLst/>
          </a:prstGeom>
        </p:spPr>
      </p:pic>
      <p:cxnSp>
        <p:nvCxnSpPr>
          <p:cNvPr id="18" name="Прямая со стрелкой 17"/>
          <p:cNvCxnSpPr/>
          <p:nvPr/>
        </p:nvCxnSpPr>
        <p:spPr bwMode="gray">
          <a:xfrm>
            <a:off x="1086455" y="3635298"/>
            <a:ext cx="1645594" cy="53525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 rot="1067345">
            <a:off x="1561171" y="3359789"/>
            <a:ext cx="950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300 мм</a:t>
            </a:r>
            <a:endParaRPr lang="ru-RU" dirty="0"/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515937" y="301437"/>
            <a:ext cx="9144000" cy="677491"/>
          </a:xfrm>
        </p:spPr>
        <p:txBody>
          <a:bodyPr/>
          <a:lstStyle/>
          <a:p>
            <a:r>
              <a:rPr lang="en-US" dirty="0"/>
              <a:t>ECO CLASS SLIM DAMP PROOF</a:t>
            </a:r>
            <a:br>
              <a:rPr lang="en-US" dirty="0"/>
            </a:br>
            <a:r>
              <a:rPr lang="ru-RU" dirty="0"/>
              <a:t>ПОДКЛЮЧЕНИЕ</a:t>
            </a:r>
            <a:endParaRPr lang="ru-RU" dirty="0"/>
          </a:p>
        </p:txBody>
      </p:sp>
      <p:cxnSp>
        <p:nvCxnSpPr>
          <p:cNvPr id="6" name="Прямая соединительная линия 5"/>
          <p:cNvCxnSpPr/>
          <p:nvPr/>
        </p:nvCxnSpPr>
        <p:spPr bwMode="gray">
          <a:xfrm>
            <a:off x="6084983" y="958636"/>
            <a:ext cx="0" cy="576125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604351" y="1302027"/>
            <a:ext cx="1399142" cy="1652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7" name="Прямоугольник 36"/>
          <p:cNvSpPr/>
          <p:nvPr/>
        </p:nvSpPr>
        <p:spPr>
          <a:xfrm>
            <a:off x="520806" y="1302027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8" name="Прямоугольник 37"/>
          <p:cNvSpPr/>
          <p:nvPr/>
        </p:nvSpPr>
        <p:spPr>
          <a:xfrm>
            <a:off x="1919948" y="1302027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43" name="Полилиния: фигура 42"/>
          <p:cNvSpPr/>
          <p:nvPr/>
        </p:nvSpPr>
        <p:spPr>
          <a:xfrm>
            <a:off x="2003493" y="1378303"/>
            <a:ext cx="425450" cy="174232"/>
          </a:xfrm>
          <a:custGeom>
            <a:avLst/>
            <a:gdLst>
              <a:gd name="connsiteX0" fmla="*/ 0 w 425450"/>
              <a:gd name="connsiteY0" fmla="*/ 14664 h 174232"/>
              <a:gd name="connsiteX1" fmla="*/ 254000 w 425450"/>
              <a:gd name="connsiteY1" fmla="*/ 14664 h 174232"/>
              <a:gd name="connsiteX2" fmla="*/ 336550 w 425450"/>
              <a:gd name="connsiteY2" fmla="*/ 167064 h 174232"/>
              <a:gd name="connsiteX3" fmla="*/ 425450 w 425450"/>
              <a:gd name="connsiteY3" fmla="*/ 135314 h 174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450" h="174232">
                <a:moveTo>
                  <a:pt x="0" y="14664"/>
                </a:moveTo>
                <a:cubicBezTo>
                  <a:pt x="98954" y="1964"/>
                  <a:pt x="197908" y="-10736"/>
                  <a:pt x="254000" y="14664"/>
                </a:cubicBezTo>
                <a:cubicBezTo>
                  <a:pt x="310092" y="40064"/>
                  <a:pt x="307975" y="146956"/>
                  <a:pt x="336550" y="167064"/>
                </a:cubicBezTo>
                <a:cubicBezTo>
                  <a:pt x="365125" y="187172"/>
                  <a:pt x="395287" y="161243"/>
                  <a:pt x="425450" y="135314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6841107" y="1175641"/>
            <a:ext cx="1399142" cy="1652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0" name="Прямоугольник 29"/>
          <p:cNvSpPr/>
          <p:nvPr/>
        </p:nvSpPr>
        <p:spPr>
          <a:xfrm>
            <a:off x="6757562" y="1175641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31" name="Прямоугольник 30"/>
          <p:cNvSpPr/>
          <p:nvPr/>
        </p:nvSpPr>
        <p:spPr>
          <a:xfrm>
            <a:off x="8156704" y="1175641"/>
            <a:ext cx="83545" cy="1652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cxnSp>
        <p:nvCxnSpPr>
          <p:cNvPr id="33" name="Прямая соединительная линия 32"/>
          <p:cNvCxnSpPr>
            <a:stCxn id="31" idx="3"/>
          </p:cNvCxnSpPr>
          <p:nvPr/>
        </p:nvCxnSpPr>
        <p:spPr bwMode="gray">
          <a:xfrm flipV="1">
            <a:off x="8240248" y="1258267"/>
            <a:ext cx="216000" cy="1"/>
          </a:xfrm>
          <a:prstGeom prst="lin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 bwMode="gray">
          <a:xfrm flipV="1">
            <a:off x="6541562" y="1258266"/>
            <a:ext cx="216000" cy="1"/>
          </a:xfrm>
          <a:prstGeom prst="lin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80871" y="2062904"/>
            <a:ext cx="367069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i="1" dirty="0"/>
              <a:t>Длина провода 300 мм для удобного подключения светильника</a:t>
            </a:r>
            <a:endParaRPr lang="ru-RU" sz="1600" i="1" dirty="0"/>
          </a:p>
        </p:txBody>
      </p:sp>
      <p:pic>
        <p:nvPicPr>
          <p:cNvPr id="10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351" y="6047777"/>
            <a:ext cx="551909" cy="525696"/>
          </a:xfrm>
          <a:prstGeom prst="rect">
            <a:avLst/>
          </a:prstGeom>
        </p:spPr>
      </p:pic>
      <p:pic>
        <p:nvPicPr>
          <p:cNvPr id="11" name="Picture 4" descr="Class-II-equipmen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558" y="6063732"/>
            <a:ext cx="506159" cy="509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УЧИТЬ ИНФОРМАЦИЮ ПО ЗАКАЗУ ПРОДУКТА И ЗАДАТЬ ВОПРОС МОЖНО ПО ЭЛЕКТРОННОЙ ПОЧТЕ: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hlinkClick r:id="rId1"/>
              </a:rPr>
              <a:t>info@temak.by</a:t>
            </a:r>
            <a:r>
              <a:rPr lang="en-US" dirty="0"/>
              <a:t>  </a:t>
            </a:r>
            <a:endParaRPr lang="ru-RU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efCo4.jOQeKjjU29iDakC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MdeSoRDCTh.FpyVirY3z5A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MdeSoRDCTh.FpyVirY3z5A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CC93X01SQ7usGa8NWeQze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CC93X01SQ7usGa8NWeQze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BMbcyLT4SP6K3QGT3wzs2g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BMbcyLT4SP6K3QGT3wzs2g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pTy5MX7RUe0iA.9jXEiTA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fpTy5MX7RUe0iA.9jXEiTA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CoJB.e8HSViX5Q0s_U91I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EJfEhO7uQJ6u1epakZAFhg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kxSBxD_oTdKpquzhlUYsTw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dGY5k_6XQo.oP0ef1pb0pw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RDIbu8mNSRmtpYiIyypg7g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2z13HgEsR4yN3qNS0pVKt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_75GDBl1Qg.LicFT.Tltow"/>
</p:tagLst>
</file>

<file path=ppt/tags/tag42.xml><?xml version="1.0" encoding="utf-8"?>
<p:tagLst xmlns:p="http://schemas.openxmlformats.org/presentationml/2006/main">
  <p:tag name="EE4P_MASTERWIZARD" val="LEDVANCE_LOGO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7pxtpl0BQGytLFVaoyJ9cg"/>
</p:tagLst>
</file>

<file path=ppt/tags/tag45.xml><?xml version="1.0" encoding="utf-8"?>
<p:tagLst xmlns:p="http://schemas.openxmlformats.org/presentationml/2006/main">
  <p:tag name="EE4P_MASTERWIZARD" val="LEDVANCE_LOGO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_1SKXFk4QbqhlpvC0E7t.A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V8RRgMqESgq4l9lwOXEUs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vIBoiCVTSVeiWE1KV9C0a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SHAPEDONOTDELETE" val="tYRgmZ3WgSPW6bAB6yOVogw"/>
</p:tagLst>
</file>

<file path=ppt/tags/tag62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EE4P_STYLE_ID" val="6391c4b3-6ff1-44de-b4bb-0a4e39bbacaa"/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Line&quot; id=&quot;1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62512&quot; top=&quot;143.875&quot; width=&quot;878.7499&quot; height=&quot;344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Divider&quot; customLayoutIndex=&quot;&quot; showBreak=&quot;1&quot; singleAgendaSlideSelected=&quot;0&quot; backupSlideTitle=&quot;Backup: %agendaName%&quot; topMargin=&quot;0&quot; leftMargin=&quot;0&quot; allowedLevels=&quot;4&quot; itemNoFormats=&quot;{1}.¦{1}.{2}¦{3:alphaLC}.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case level=&quot;1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0&quot; createBackupSlide=&quot;0&quot; layoutId=&quot;1_2&quot; fontSizeAuto=&quot;0&quot; hideSeparatingSlides=&quot;0&quot; createSections=&quot;0&quot; singleSlideId=&quot;3885ad16-df10-445e-a589-d916f009219a&quot; backupSlideId=&quot;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311.0894&quot; /&gt;&lt;column field=&quot;responsible&quot; label=&quot;Responsible&quot; visible=&quot;1&quot; checked=&quot;1&quot; leftSpacing=&quot;10&quot; rightDistribute=&quot;1&quot; dock=&quot;1&quot; rightSpacing=&quot;311.0894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items&gt;&lt;item duration=&quot;30&quot; id=&quot;8a2c5ece-ad32-41aa-b02f-a9f075ca0e44&quot; parentId=&quot;&quot; level=&quot;1&quot; generateAgendaSlide=&quot;1&quot; showAgendaItem=&quot;1&quot; isBreak=&quot;0&quot; topic=&quot;&amp;lt;Topic 1&amp;gt;&quot; agendaSlideId=&quot;&quot; responsible=&quot;&quot; /&gt;&lt;item duration=&quot;30&quot; id=&quot;811a5b33-c6f0-4a31-ac6b-8ab8e5151b65&quot; parentId=&quot;&quot; level=&quot;1&quot; generateAgendaSlide=&quot;1&quot; showAgendaItem=&quot;1&quot; isBreak=&quot;0&quot; topic=&quot;&amp;lt;Topic 2&amp;gt;&quot; agendaSlideId=&quot;&quot; responsible=&quot;&quot; /&gt;&lt;item duration=&quot;30&quot; id=&quot;7e5c4f1e-ea96-4560-8008-5bdd77e9afde&quot; parentId=&quot;&quot; level=&quot;1&quot; generateAgendaSlide=&quot;1&quot; showAgendaItem=&quot;1&quot; isBreak=&quot;0&quot; topic=&quot;&amp;lt;Topic 3&amp;gt;&quot; responsible=&quot;&quot; /&gt;&lt;item duration=&quot;30&quot; id=&quot;d453397e-d1b5-4f89-9e4a-79d8f77828b3&quot; parentId=&quot;&quot; level=&quot;1&quot; generateAgendaSlide=&quot;1&quot; showAgendaItem=&quot;1&quot; isBreak=&quot;0&quot; topic=&quot;&amp;lt;Topic 4&amp;gt;&quot; responsible=&quot;&quot; /&gt;&lt;item duration=&quot;30&quot; id=&quot;ba1b36c4-c30a-404c-a86e-871dcc61e378&quot; parentId=&quot;&quot; level=&quot;1&quot; generateAgendaSlide=&quot;1&quot; showAgendaItem=&quot;1&quot; isBreak=&quot;0&quot; topic=&quot;&amp;lt;Topic 5&amp;gt;&quot; responsible=&quot;&quot; /&gt;&lt;/items&gt;&lt;/agenda&gt;&lt;/contents&gt;&lt;/ee4p&gt;"/>
  <p:tag name="THINKCELLUNDODONOTDELETE" val="0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NjYvEipYRlartBXnPbYg_g"/>
</p:tagLst>
</file>

<file path=ppt/theme/theme1.xml><?xml version="1.0" encoding="utf-8"?>
<a:theme xmlns:a="http://schemas.openxmlformats.org/drawingml/2006/main" name="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58B1BA729E89F41B45A0CAE91FCC4FC" ma:contentTypeVersion="1" ma:contentTypeDescription="Создание документа." ma:contentTypeScope="" ma:versionID="28ce2c7de551100906422a36709495f4">
  <xsd:schema xmlns:xsd="http://www.w3.org/2001/XMLSchema" xmlns:xs="http://www.w3.org/2001/XMLSchema" xmlns:p="http://schemas.microsoft.com/office/2006/metadata/properties" xmlns:ns2="84b75b5b-205a-4e3e-ae01-f59ac1dc8abe" targetNamespace="http://schemas.microsoft.com/office/2006/metadata/properties" ma:root="true" ma:fieldsID="d92db3e2363b8775cc3c2b0567804434" ns2:_="">
    <xsd:import namespace="84b75b5b-205a-4e3e-ae01-f59ac1dc8ab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5b5b-205a-4e3e-ae01-f59ac1dc8ab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63.xml><?xml version="1.0" encoding="utf-8"?>
<ds:datastoreItem xmlns:ds="http://schemas.openxmlformats.org/officeDocument/2006/customXml" ds:itemID="{86C8657E-C4FD-41D1-A783-74BBB672C6D3}">
  <ds:schemaRefs/>
</ds:datastoreItem>
</file>

<file path=customXml/itemProps64.xml><?xml version="1.0" encoding="utf-8"?>
<ds:datastoreItem xmlns:ds="http://schemas.openxmlformats.org/officeDocument/2006/customXml" ds:itemID="{E27092BC-5581-441A-811D-B58778018666}">
  <ds:schemaRefs/>
</ds:datastoreItem>
</file>

<file path=customXml/itemProps65.xml><?xml version="1.0" encoding="utf-8"?>
<ds:datastoreItem xmlns:ds="http://schemas.openxmlformats.org/officeDocument/2006/customXml" ds:itemID="{730403BE-2BC7-4D7C-ACD7-51590BB373E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99</Words>
  <Application>WPS Presentation</Application>
  <PresentationFormat>Широкоэкранный</PresentationFormat>
  <Paragraphs>270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8</vt:i4>
      </vt:variant>
      <vt:variant>
        <vt:lpstr>幻灯片标题</vt:lpstr>
      </vt:variant>
      <vt:variant>
        <vt:i4>5</vt:i4>
      </vt:variant>
    </vt:vector>
  </HeadingPairs>
  <TitlesOfParts>
    <vt:vector size="49" baseType="lpstr">
      <vt:lpstr>Arial</vt:lpstr>
      <vt:lpstr>SimSun</vt:lpstr>
      <vt:lpstr>Wingdings</vt:lpstr>
      <vt:lpstr>Microsoft YaHei</vt:lpstr>
      <vt:lpstr>Arial Unicode MS</vt:lpstr>
      <vt:lpstr>LEDVANC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ECO CLASS SLIM DAMP PROOF </vt:lpstr>
      <vt:lpstr>Преимущества</vt:lpstr>
      <vt:lpstr>ECO CLASS SLIM DAMP PROOF Артикулы для заказа</vt:lpstr>
      <vt:lpstr>ECO CLASS SLIM DAMP PROOF ПОДКЛЮЧЕНИЕ</vt:lpstr>
      <vt:lpstr>ПОЛУЧИТЬ ИНФОРМАЦИЮ ПО ЗАКАЗУ ПРОДУКТА И ЗАДАТЬ ВОПРОС МОЖНО ПО ЭЛЕКТРОННОЙ ПОЧТЕ:</vt:lpstr>
    </vt:vector>
  </TitlesOfParts>
  <Company>LEDV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new PPT in Arial bold Subtitle of pPT in Arial reg</dc:title>
  <dc:creator>Lal, Anirudh</dc:creator>
  <cp:lastModifiedBy>User</cp:lastModifiedBy>
  <cp:revision>11</cp:revision>
  <dcterms:created xsi:type="dcterms:W3CDTF">2023-11-23T15:21:00Z</dcterms:created>
  <dcterms:modified xsi:type="dcterms:W3CDTF">2026-01-31T16:3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8B1BA729E89F41B45A0CAE91FCC4FC</vt:lpwstr>
  </property>
  <property fmtid="{D5CDD505-2E9C-101B-9397-08002B2CF9AE}" pid="3" name="_dlc_DocIdItemGuid">
    <vt:lpwstr>d28c3967-6fe6-4fb4-96b5-edc6b282ff54</vt:lpwstr>
  </property>
  <property fmtid="{D5CDD505-2E9C-101B-9397-08002B2CF9AE}" pid="4" name="MediaServiceImageTags">
    <vt:lpwstr/>
  </property>
  <property fmtid="{D5CDD505-2E9C-101B-9397-08002B2CF9AE}" pid="5" name="ICV">
    <vt:lpwstr>887448B4186C491A9135B531EBABA876_13</vt:lpwstr>
  </property>
  <property fmtid="{D5CDD505-2E9C-101B-9397-08002B2CF9AE}" pid="6" name="KSOProductBuildVer">
    <vt:lpwstr>1049-12.2.0.23196</vt:lpwstr>
  </property>
</Properties>
</file>